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311" r:id="rId2"/>
    <p:sldId id="460" r:id="rId3"/>
    <p:sldId id="461" r:id="rId4"/>
    <p:sldId id="462" r:id="rId5"/>
    <p:sldId id="314" r:id="rId6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Curves &amp; Derivatives</a:t>
            </a:r>
            <a:br>
              <a:rPr lang="en-US" dirty="0" smtClean="0"/>
            </a:br>
            <a:r>
              <a:rPr lang="en-US" dirty="0" smtClean="0"/>
              <a:t>Horizontal, Vertical &amp; Slant Asymptot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creasing/ Decreasing Functions &amp; Relative </a:t>
            </a:r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trema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cavity and Points of Inflec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Horizontal, Vertical &amp; Slant Asymptote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necting the Properties of Curves with Derivativ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 1"/>
          <p:cNvPicPr>
            <a:picLocks noChangeAspect="1" noChangeArrowheads="1"/>
          </p:cNvPicPr>
          <p:nvPr/>
        </p:nvPicPr>
        <p:blipFill>
          <a:blip r:embed="rId5" cstate="print"/>
          <a:srcRect r="73721" b="67563"/>
          <a:stretch>
            <a:fillRect/>
          </a:stretch>
        </p:blipFill>
        <p:spPr bwMode="auto">
          <a:xfrm>
            <a:off x="251520" y="1131590"/>
            <a:ext cx="2880320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already discussed vertical and horizontal asymptotes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0"/>
            <a:ext cx="2160240" cy="219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8002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9"/>
            <a:ext cx="5303784" cy="161271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075806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3147815"/>
            <a:ext cx="5303903" cy="1171820"/>
          </a:xfrm>
          <a:prstGeom prst="rect">
            <a:avLst/>
          </a:prstGeom>
          <a:noFill/>
          <a:ln/>
          <a:effectLst/>
        </p:spPr>
      </p:pic>
      <p:cxnSp>
        <p:nvCxnSpPr>
          <p:cNvPr id="12" name="Gerade Verbindung 11"/>
          <p:cNvCxnSpPr>
            <a:endCxn id="13" idx="2"/>
          </p:cNvCxnSpPr>
          <p:nvPr/>
        </p:nvCxnSpPr>
        <p:spPr>
          <a:xfrm flipV="1">
            <a:off x="1403648" y="1408589"/>
            <a:ext cx="1101591" cy="37107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1835696" y="1131590"/>
            <a:ext cx="13390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vertical asymptote</a:t>
            </a:r>
            <a:endParaRPr lang="en-US" sz="1200" dirty="0"/>
          </a:p>
        </p:txBody>
      </p:sp>
      <p:sp>
        <p:nvSpPr>
          <p:cNvPr id="16" name="Textfeld 15"/>
          <p:cNvSpPr txBox="1"/>
          <p:nvPr/>
        </p:nvSpPr>
        <p:spPr>
          <a:xfrm>
            <a:off x="2195736" y="2571750"/>
            <a:ext cx="8465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horizontal</a:t>
            </a:r>
          </a:p>
          <a:p>
            <a:r>
              <a:rPr lang="en-US" sz="1200" dirty="0" smtClean="0"/>
              <a:t>asymptote</a:t>
            </a:r>
            <a:endParaRPr lang="en-US" sz="1200" dirty="0"/>
          </a:p>
        </p:txBody>
      </p:sp>
      <p:cxnSp>
        <p:nvCxnSpPr>
          <p:cNvPr id="18" name="Gerade Verbindung 17"/>
          <p:cNvCxnSpPr>
            <a:stCxn id="16" idx="1"/>
          </p:cNvCxnSpPr>
          <p:nvPr/>
        </p:nvCxnSpPr>
        <p:spPr>
          <a:xfrm flipH="1" flipV="1">
            <a:off x="1619672" y="2211710"/>
            <a:ext cx="576064" cy="59087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085337" y="3468501"/>
            <a:ext cx="1228124" cy="4108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ides horizontal and vertical asymptotes, slant asymptotes may occur in graphs and help to accurately sketch the behavior of a curve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219" y="1099840"/>
            <a:ext cx="2144131" cy="1827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19173" cy="311184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4355976" y="1753538"/>
            <a:ext cx="3600400" cy="5040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ant asymptotes</a:t>
            </a:r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490235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9"/>
            <a:ext cx="5326597" cy="35865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8,8752"/>
  <p:tag name="ORIGINALWIDTH" val="3394,076"/>
  <p:tag name="LATEXADDIN" val="\documentclass{article}\pagestyle{empty}&#10;\usepackage{amsmath}&#10;\usepackage{amsfonts}&#10;\usepackage{amssymb}&#10;\begin{document}&#10;\begin{minipage}{9.6 cm}&#10;{\sffamily{&#10;{\bf{Vertical Asymptotes:}}\\[1mm]&#10;The line $x=c$ is a vertical asymptote of the graph of $f(x)$ if one or both of these conditions holds:\\[-6mm]&#10;\begin{eqnarray*}&#10;\lim_{x \to c^-} f(x) &amp; = &amp; \infty \quad \textrm{(or $-\infty$)}\\[1mm]&#10;\lim_{x \to c^+} f(x) &amp; = &amp; \infty \quad \textrm{(or $-\infty$)}&#10;\end{eqnarray*}&#10;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5,1594"/>
  <p:tag name="ORIGINALWIDTH" val="3394,076"/>
  <p:tag name="LATEXADDIN" val="\documentclass{article}\pagestyle{empty}&#10;\usepackage{amsmath}&#10;\usepackage{amsfonts}&#10;\usepackage{amssymb}&#10;\begin{document}&#10;\begin{minipage}{9.6 cm}&#10;{\sffamily{&#10;{\bf{Horizontal Asymptotes:}}\\[1mm]&#10;The horizontal line $y=b$ is called a horizontal asymptote of the graph of $y=f(x)$ if\\[-2mm]&#10;$$&#10;\lim_{x \to -\infty} f(x) \, \, = \, \, b \quad \textrm{or} \quad \lim_{x \to \infty} f(x) \, \, = \, \, b&#10;$$&#10;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4,2183"/>
  <p:tag name="ORIGINALWIDTH" val="785,9018"/>
  <p:tag name="LATEXADDIN" val="\documentclass{article}\pagestyle{empty}&#10;\usepackage{amsmath}&#10;\usepackage{amsfonts}&#10;\usepackage{amssymb}&#10;\begin{document}&#10;\begin{minipage}{9.6 cm}&#10;{\sffamily{&#10;$$&#10;f(x) \, \, = \, \, \frac{x+1}{x-2}&#10;$$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9,509"/>
  <p:tag name="ORIGINALWIDTH" val="3404,575"/>
  <p:tag name="LATEXADDIN" val="\documentclass{article}\pagestyle{empty}&#10;\usepackage{amsmath}&#10;\usepackage{amsfonts}&#10;\usepackage{amssymb}&#10;\begin{document}&#10;\begin{minipage}{9.6 cm}&#10;{\sffamily{&#10;Some curves have asymptotes that are oblique, that is, neither horizontal nor vertical. If&#10;$$&#10;\lim_{x \to \infty} \left( f(x) - \left( mx + b \right) \right) \, \, = \, \, 0&#10;$$&#10;where $m \neq 0$, then the line $y = mx + b$ is called a {\bf{slant asymptote}} because the vertical distance between the curve $y = f(x)$ and the line $y = mx + b$ approaches $0$, as shown in the figure. (A similar situation exists if we let $x \to -\infty$.)\\[1mm]&#10;For rational functions, slant asymptotes occur when the degree of the numerator is one more than the degree of the denominator. In such a case the equation of the slant asymptote can be found by long division as in the following example.}}&#10;\end{minipage}&#10;\end{document}"/>
  <p:tag name="IGUANATEXSIZE" val="20"/>
  <p:tag name="IGUANATEXCURSOR" val="8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0,75"/>
  <p:tag name="ORIGINALWIDTH" val="3318,335"/>
  <p:tag name="LATEXADDIN" val="\documentclass{article}\pagestyle{empty}&#10;\usepackage{amsmath}&#10;\usepackage{amsfonts}&#10;\usepackage{amssymb}&#10;\begin{document}&#10;\begin{minipage}{9.4 cm}&#10;{\sffamily{&#10;{\bf{Example: (Slant Asymptotes)}}\\[1mm]&#10;To find the slant asymptotes of\\[-2mm]&#10;$$&#10;f(x) \, \, = \, \, \frac{x^3}{x^2 + 1} \, .&#10;$$&#10;we note that we can re-write $f(x)$ as\\[-2mm]&#10;$$&#10;\frac{x^3}{x^2 + 1} \, \, = \, \, x \cdot \frac{x^2}{x^2 + 1} \, \, \stackrel{x \to \pm \infty}{\longrightarrow} \, \, \lim_{x\to \pm \infty} \, x \, .&#10;$$&#10;Thus, the line $g(x) = x$ is a slant asymptote of $f(x)$ for both $x \to \infty$ and $x \to -\infty$, in particular as&#10;$$&#10;\lim_{x\to \pm \infty} \left( \frac{x^3}{x^2 + 1} - x \right) \, \, = \, \, \lim_{x\to \pm \infty} \left( \frac{x^3 - x^3 - x}{x^2 + 1} \right)&#10;\, \, = \, \, 0 \, .&#10;$$&#10;&#10;}}&#10;\end{minipage}&#10;\end{document}"/>
  <p:tag name="IGUANATEXSIZE" val="20"/>
  <p:tag name="IGUANATEXCURSOR" val="3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8</Words>
  <Application>Microsoft Office PowerPoint</Application>
  <PresentationFormat>Bildschirmpräsentation (16:9)</PresentationFormat>
  <Paragraphs>15</Paragraphs>
  <Slides>5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Larissa-Design</vt:lpstr>
      <vt:lpstr>Calculus I for MGMT – Curves &amp; Derivatives Horizontal, Vertical &amp; Slant Asymptotes</vt:lpstr>
      <vt:lpstr>We already discussed vertical and horizontal asymptotes</vt:lpstr>
      <vt:lpstr>Besides horizontal and vertical asymptotes, slant asymptotes may occur in graphs and help to accurately sketch the behavior of a curve</vt:lpstr>
      <vt:lpstr>Example: Finding slant asymptote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0</cp:revision>
  <dcterms:created xsi:type="dcterms:W3CDTF">2020-04-04T18:50:50Z</dcterms:created>
  <dcterms:modified xsi:type="dcterms:W3CDTF">2022-11-16T12:27:58Z</dcterms:modified>
</cp:coreProperties>
</file>